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41" r:id="rId5"/>
  </p:sldIdLst>
  <p:sldSz cx="9144000" cy="6858000" type="letter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BCBC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3" autoAdjust="0"/>
  </p:normalViewPr>
  <p:slideViewPr>
    <p:cSldViewPr snapToGrid="0" showGuides="1">
      <p:cViewPr varScale="1">
        <p:scale>
          <a:sx n="86" d="100"/>
          <a:sy n="86" d="100"/>
        </p:scale>
        <p:origin x="1382" y="331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26/20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30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marR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2844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844">
                <a:solidFill>
                  <a:schemeClr val="bg1"/>
                </a:solidFill>
              </a:defRPr>
            </a:lvl3pPr>
            <a:lvl4pPr marL="2438278" indent="0" algn="ctr">
              <a:buNone/>
              <a:defRPr sz="2844"/>
            </a:lvl4pPr>
            <a:lvl5pPr marL="3251037" indent="0" algn="ctr">
              <a:buNone/>
              <a:defRPr sz="2844"/>
            </a:lvl5pPr>
            <a:lvl6pPr marL="4063797" indent="0" algn="ctr">
              <a:buNone/>
              <a:defRPr sz="2844"/>
            </a:lvl6pPr>
            <a:lvl7pPr marL="4876557" indent="0" algn="ctr">
              <a:buNone/>
              <a:defRPr sz="2844"/>
            </a:lvl7pPr>
            <a:lvl8pPr marL="5689315" indent="0" algn="ctr">
              <a:buNone/>
              <a:defRPr sz="2844"/>
            </a:lvl8pPr>
            <a:lvl9pPr marL="6502075" indent="0" algn="ctr">
              <a:buNone/>
              <a:defRPr sz="2844"/>
            </a:lvl9pPr>
          </a:lstStyle>
          <a:p>
            <a:r>
              <a:rPr lang="en-CA" noProof="0" dirty="0"/>
              <a:t>Click to edit Master title style</a:t>
            </a:r>
          </a:p>
          <a:p>
            <a:pPr marL="0" marR="0" lvl="1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CA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7" y="6381750"/>
            <a:ext cx="4195763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77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1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0"/>
            <a:ext cx="7905751" cy="1592403"/>
          </a:xfrm>
        </p:spPr>
        <p:txBody>
          <a:bodyPr anchor="b"/>
          <a:lstStyle>
            <a:lvl1pPr>
              <a:lnSpc>
                <a:spcPct val="95000"/>
              </a:lnSpc>
              <a:defRPr sz="6844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1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6844">
                <a:solidFill>
                  <a:schemeClr val="tx1"/>
                </a:solidFill>
              </a:defRPr>
            </a:lvl1pPr>
            <a:lvl2pPr marL="81276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51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278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03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379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55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31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07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400"/>
              </a:spcBef>
              <a:defRPr sz="4977">
                <a:solidFill>
                  <a:schemeClr val="bg1"/>
                </a:solidFill>
              </a:defRPr>
            </a:lvl1pPr>
            <a:lvl2pPr marL="812760" indent="-812760">
              <a:defRPr sz="5333">
                <a:solidFill>
                  <a:schemeClr val="bg2"/>
                </a:solidFill>
              </a:defRPr>
            </a:lvl2pPr>
            <a:lvl3pPr>
              <a:defRPr sz="5333">
                <a:solidFill>
                  <a:schemeClr val="bg2"/>
                </a:solidFill>
              </a:defRPr>
            </a:lvl3pPr>
            <a:lvl4pPr>
              <a:defRPr sz="5333">
                <a:solidFill>
                  <a:schemeClr val="bg2"/>
                </a:solidFill>
              </a:defRPr>
            </a:lvl4pPr>
            <a:lvl5pPr>
              <a:defRPr sz="5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400"/>
              </a:spcBef>
              <a:defRPr sz="4977">
                <a:solidFill>
                  <a:schemeClr val="bg1"/>
                </a:solidFill>
              </a:defRPr>
            </a:lvl1pPr>
            <a:lvl2pPr marL="812760" indent="-812760">
              <a:defRPr sz="5333">
                <a:solidFill>
                  <a:schemeClr val="bg2"/>
                </a:solidFill>
              </a:defRPr>
            </a:lvl2pPr>
            <a:lvl3pPr>
              <a:defRPr sz="5333">
                <a:solidFill>
                  <a:schemeClr val="bg2"/>
                </a:solidFill>
              </a:defRPr>
            </a:lvl3pPr>
            <a:lvl4pPr>
              <a:defRPr sz="5333">
                <a:solidFill>
                  <a:schemeClr val="bg2"/>
                </a:solidFill>
              </a:defRPr>
            </a:lvl4pPr>
            <a:lvl5pPr>
              <a:defRPr sz="5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400"/>
              </a:spcBef>
              <a:defRPr sz="4977">
                <a:solidFill>
                  <a:schemeClr val="bg1"/>
                </a:solidFill>
              </a:defRPr>
            </a:lvl1pPr>
            <a:lvl2pPr marL="812760" indent="-812760">
              <a:defRPr sz="5333">
                <a:solidFill>
                  <a:schemeClr val="bg2"/>
                </a:solidFill>
              </a:defRPr>
            </a:lvl2pPr>
            <a:lvl3pPr>
              <a:defRPr sz="5333">
                <a:solidFill>
                  <a:schemeClr val="bg2"/>
                </a:solidFill>
              </a:defRPr>
            </a:lvl3pPr>
            <a:lvl4pPr>
              <a:defRPr sz="5333">
                <a:solidFill>
                  <a:schemeClr val="bg2"/>
                </a:solidFill>
              </a:defRPr>
            </a:lvl4pPr>
            <a:lvl5pPr>
              <a:defRPr sz="5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400"/>
              </a:spcBef>
              <a:defRPr sz="4977">
                <a:solidFill>
                  <a:schemeClr val="bg1"/>
                </a:solidFill>
              </a:defRPr>
            </a:lvl1pPr>
            <a:lvl2pPr marL="812760" indent="-812760">
              <a:defRPr sz="5333">
                <a:solidFill>
                  <a:schemeClr val="bg2"/>
                </a:solidFill>
              </a:defRPr>
            </a:lvl2pPr>
            <a:lvl3pPr>
              <a:defRPr sz="5333">
                <a:solidFill>
                  <a:schemeClr val="bg2"/>
                </a:solidFill>
              </a:defRPr>
            </a:lvl3pPr>
            <a:lvl4pPr>
              <a:defRPr sz="5333">
                <a:solidFill>
                  <a:schemeClr val="bg2"/>
                </a:solidFill>
              </a:defRPr>
            </a:lvl4pPr>
            <a:lvl5pPr>
              <a:defRPr sz="5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400"/>
              </a:spcBef>
              <a:defRPr sz="4977">
                <a:solidFill>
                  <a:schemeClr val="tx1"/>
                </a:solidFill>
              </a:defRPr>
            </a:lvl1pPr>
            <a:lvl2pPr marL="812760" indent="-812760">
              <a:defRPr sz="5333">
                <a:solidFill>
                  <a:schemeClr val="bg2"/>
                </a:solidFill>
              </a:defRPr>
            </a:lvl2pPr>
            <a:lvl3pPr>
              <a:defRPr sz="5333">
                <a:solidFill>
                  <a:schemeClr val="bg2"/>
                </a:solidFill>
              </a:defRPr>
            </a:lvl3pPr>
            <a:lvl4pPr>
              <a:defRPr sz="5333">
                <a:solidFill>
                  <a:schemeClr val="bg2"/>
                </a:solidFill>
              </a:defRPr>
            </a:lvl4pPr>
            <a:lvl5pPr>
              <a:defRPr sz="5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11962802" algn="r"/>
              </a:tabLst>
              <a:defRPr/>
            </a:lvl1pPr>
            <a:lvl2pPr>
              <a:tabLst>
                <a:tab pos="11962802" algn="r"/>
              </a:tabLst>
              <a:defRPr/>
            </a:lvl2pPr>
            <a:lvl3pPr>
              <a:tabLst>
                <a:tab pos="11962802" algn="r"/>
              </a:tabLst>
              <a:defRPr/>
            </a:lvl3pPr>
            <a:lvl4pPr>
              <a:tabLst>
                <a:tab pos="1196280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  <a:lvl6pPr>
              <a:tabLst>
                <a:tab pos="11962802" algn="r"/>
              </a:tabLst>
              <a:defRPr/>
            </a:lvl6pPr>
            <a:lvl7pPr>
              <a:tabLst>
                <a:tab pos="11962802" algn="r"/>
              </a:tabLst>
              <a:defRPr/>
            </a:lvl7pPr>
            <a:lvl8pPr>
              <a:tabLst>
                <a:tab pos="11962802" algn="r"/>
              </a:tabLst>
              <a:defRPr/>
            </a:lvl8pPr>
            <a:lvl9pPr>
              <a:tabLst>
                <a:tab pos="11962802" algn="r"/>
              </a:tabLs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0"/>
            <a:ext cx="838517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2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9"/>
            <a:ext cx="3342323" cy="4716463"/>
          </a:xfrm>
          <a:prstGeom prst="rect">
            <a:avLst/>
          </a:prstGeom>
        </p:spPr>
        <p:txBody>
          <a:bodyPr/>
          <a:lstStyle>
            <a:lvl1pPr>
              <a:tabLst>
                <a:tab pos="8940352" algn="r"/>
              </a:tabLst>
              <a:defRPr/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2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1"/>
            <a:ext cx="837176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7176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3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40" y="5864230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3200" b="1">
                <a:solidFill>
                  <a:schemeClr val="tx1"/>
                </a:solidFill>
              </a:defRPr>
            </a:lvl1pPr>
            <a:lvl2pPr marL="0" indent="0" algn="l">
              <a:buNone/>
              <a:defRPr sz="2844" b="0"/>
            </a:lvl2pPr>
            <a:lvl3pPr marL="1625519" indent="0" algn="ctr">
              <a:buNone/>
              <a:defRPr sz="3200"/>
            </a:lvl3pPr>
            <a:lvl4pPr marL="2438278" indent="0" algn="ctr">
              <a:buNone/>
              <a:defRPr sz="2844"/>
            </a:lvl4pPr>
            <a:lvl5pPr marL="3251037" indent="0" algn="ctr">
              <a:buNone/>
              <a:defRPr sz="2844"/>
            </a:lvl5pPr>
            <a:lvl6pPr marL="4063797" indent="0" algn="ctr">
              <a:buNone/>
              <a:defRPr sz="2844"/>
            </a:lvl6pPr>
            <a:lvl7pPr marL="4876557" indent="0" algn="ctr">
              <a:buNone/>
              <a:defRPr sz="2844"/>
            </a:lvl7pPr>
            <a:lvl8pPr marL="5689315" indent="0" algn="ctr">
              <a:buNone/>
              <a:defRPr sz="2844"/>
            </a:lvl8pPr>
            <a:lvl9pPr marL="6502075" indent="0" algn="ctr">
              <a:buNone/>
              <a:defRPr sz="2844"/>
            </a:lvl9pPr>
          </a:lstStyle>
          <a:p>
            <a:r>
              <a:rPr lang="en-CA" noProof="0" dirty="0"/>
              <a:t>Click to edit Master title style</a:t>
            </a:r>
          </a:p>
          <a:p>
            <a:pPr lvl="1"/>
            <a:r>
              <a:rPr lang="en-CA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7" y="6381750"/>
            <a:ext cx="4195763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77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1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1"/>
            <a:ext cx="837176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7176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3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2844"/>
            </a:lvl1pPr>
            <a:lvl2pPr>
              <a:defRPr sz="2844"/>
            </a:lvl2pPr>
            <a:lvl3pPr>
              <a:defRPr sz="2844"/>
            </a:lvl3pPr>
            <a:lvl4pPr>
              <a:defRPr sz="2844"/>
            </a:lvl4pPr>
            <a:lvl5pPr>
              <a:defRPr sz="2844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2000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9" y="6121014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9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7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4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40200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1"/>
            <a:ext cx="840200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8940352" algn="r"/>
              </a:tabLst>
              <a:defRPr/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9"/>
            <a:ext cx="3992087" cy="4716461"/>
          </a:xfrm>
          <a:prstGeom prst="rect">
            <a:avLst/>
          </a:prstGeom>
        </p:spPr>
        <p:txBody>
          <a:bodyPr/>
          <a:lstStyle>
            <a:lvl1pPr>
              <a:tabLst>
                <a:tab pos="8940352" algn="r"/>
              </a:tabLst>
              <a:defRPr/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8940352" algn="r"/>
              </a:tabLst>
              <a:defRPr sz="2844"/>
            </a:lvl1pPr>
            <a:lvl2pPr>
              <a:tabLst>
                <a:tab pos="8940352" algn="r"/>
              </a:tabLst>
              <a:defRPr sz="2844"/>
            </a:lvl2pPr>
            <a:lvl3pPr>
              <a:tabLst>
                <a:tab pos="8940352" algn="r"/>
              </a:tabLst>
              <a:defRPr sz="2844"/>
            </a:lvl3pPr>
            <a:lvl4pPr>
              <a:tabLst>
                <a:tab pos="8940352" algn="r"/>
              </a:tabLst>
              <a:defRPr sz="2844"/>
            </a:lvl4pPr>
            <a:lvl5pPr>
              <a:tabLst>
                <a:tab pos="8940352" algn="r"/>
              </a:tabLst>
              <a:defRPr baseline="0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89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8940352" algn="r"/>
              </a:tabLst>
              <a:defRPr sz="2844"/>
            </a:lvl1pPr>
            <a:lvl2pPr>
              <a:tabLst>
                <a:tab pos="8940352" algn="r"/>
              </a:tabLst>
              <a:defRPr sz="2844"/>
            </a:lvl2pPr>
            <a:lvl3pPr>
              <a:tabLst>
                <a:tab pos="8940352" algn="r"/>
              </a:tabLst>
              <a:defRPr sz="2844"/>
            </a:lvl3pPr>
            <a:lvl4pPr>
              <a:tabLst>
                <a:tab pos="8940352" algn="r"/>
              </a:tabLst>
              <a:defRPr sz="2844"/>
            </a:lvl4pPr>
            <a:lvl5pPr>
              <a:tabLst>
                <a:tab pos="8940352" algn="r"/>
              </a:tabLst>
              <a:defRPr baseline="0"/>
            </a:lvl5pPr>
            <a:lvl6pPr>
              <a:defRPr sz="2844"/>
            </a:lvl6pPr>
            <a:lvl7pPr>
              <a:defRPr sz="2844"/>
            </a:lvl7pPr>
            <a:lvl8pPr>
              <a:defRPr sz="2844"/>
            </a:lvl8pPr>
            <a:lvl9pPr>
              <a:defRPr sz="284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4016375" cy="4455725"/>
          </a:xfrm>
          <a:prstGeom prst="rect">
            <a:avLst/>
          </a:prstGeom>
        </p:spPr>
        <p:txBody>
          <a:bodyPr/>
          <a:lstStyle>
            <a:lvl1pPr>
              <a:tabLst>
                <a:tab pos="8940352" algn="r"/>
              </a:tabLst>
              <a:defRPr/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8" y="2125013"/>
            <a:ext cx="401184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8" y="1665289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4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8" y="1665289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4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40" y="2125013"/>
            <a:ext cx="400429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CA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9"/>
            <a:ext cx="400429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0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8940352" algn="r"/>
              </a:tabLst>
              <a:defRPr/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3" y="1700214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8940352" algn="r"/>
              </a:tabLst>
              <a:defRPr/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3" y="1658681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8940352" algn="r"/>
              </a:tabLst>
              <a:defRPr sz="4267">
                <a:solidFill>
                  <a:schemeClr val="accent3"/>
                </a:solidFill>
              </a:defRPr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40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8940352" algn="r"/>
              </a:tabLst>
              <a:defRPr/>
            </a:lvl1pPr>
            <a:lvl2pPr>
              <a:tabLst>
                <a:tab pos="8940352" algn="r"/>
              </a:tabLst>
              <a:defRPr/>
            </a:lvl2pPr>
            <a:lvl3pPr>
              <a:tabLst>
                <a:tab pos="8940352" algn="r"/>
              </a:tabLst>
              <a:defRPr/>
            </a:lvl3pPr>
            <a:lvl4pPr>
              <a:tabLst>
                <a:tab pos="8940352" algn="r"/>
              </a:tabLst>
              <a:defRPr/>
            </a:lvl4pPr>
            <a:lvl5pPr>
              <a:tabLst>
                <a:tab pos="894035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1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313584" indent="-31358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0"/>
              </a:spcAft>
              <a:defRPr baseline="0"/>
            </a:lvl5pPr>
            <a:lvl6pPr marL="633568" indent="-31358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0"/>
              </a:spcAft>
              <a:defRPr/>
            </a:lvl7pPr>
            <a:lvl8pPr marL="633568" indent="-313584">
              <a:spcAft>
                <a:spcPts val="0"/>
              </a:spcAft>
              <a:defRPr/>
            </a:lvl8pPr>
            <a:lvl9pPr marL="633568" indent="-31358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1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313584" indent="-31358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0"/>
              </a:spcAft>
              <a:defRPr baseline="0"/>
            </a:lvl5pPr>
            <a:lvl6pPr marL="633568" indent="-31358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0"/>
              </a:spcAft>
              <a:defRPr/>
            </a:lvl7pPr>
            <a:lvl8pPr marL="633568" indent="-313584">
              <a:spcAft>
                <a:spcPts val="0"/>
              </a:spcAft>
              <a:defRPr/>
            </a:lvl8pPr>
            <a:lvl9pPr marL="633568" indent="-31358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1" y="3124200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313584" indent="-31358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0"/>
              </a:spcAft>
              <a:defRPr baseline="0"/>
            </a:lvl5pPr>
            <a:lvl6pPr marL="633568" indent="-31358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0"/>
              </a:spcAft>
              <a:defRPr/>
            </a:lvl7pPr>
            <a:lvl8pPr marL="633568" indent="-313584">
              <a:spcAft>
                <a:spcPts val="0"/>
              </a:spcAft>
              <a:defRPr/>
            </a:lvl8pPr>
            <a:lvl9pPr marL="633568" indent="-31358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8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313584" indent="-31358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0"/>
              </a:spcAft>
              <a:defRPr baseline="0"/>
            </a:lvl5pPr>
            <a:lvl6pPr marL="633568" indent="-31358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0"/>
              </a:spcAft>
              <a:defRPr/>
            </a:lvl7pPr>
            <a:lvl8pPr marL="633568" indent="-313584">
              <a:spcAft>
                <a:spcPts val="0"/>
              </a:spcAft>
              <a:defRPr/>
            </a:lvl8pPr>
            <a:lvl9pPr marL="633568" indent="-31358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1"/>
            <a:ext cx="8391527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7466"/>
              </a:lnSpc>
              <a:defRPr sz="64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30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44">
                <a:solidFill>
                  <a:schemeClr val="bg1"/>
                </a:solidFill>
              </a:defRPr>
            </a:lvl1pPr>
            <a:lvl2pPr marL="812760" indent="0" algn="ctr">
              <a:buNone/>
              <a:defRPr sz="3556"/>
            </a:lvl2pPr>
            <a:lvl3pPr marL="1625519" indent="0" algn="ctr">
              <a:buNone/>
              <a:defRPr sz="3200"/>
            </a:lvl3pPr>
            <a:lvl4pPr marL="2438278" indent="0" algn="ctr">
              <a:buNone/>
              <a:defRPr sz="2844"/>
            </a:lvl4pPr>
            <a:lvl5pPr marL="3251037" indent="0" algn="ctr">
              <a:buNone/>
              <a:defRPr sz="2844"/>
            </a:lvl5pPr>
            <a:lvl6pPr marL="4063797" indent="0" algn="ctr">
              <a:buNone/>
              <a:defRPr sz="2844"/>
            </a:lvl6pPr>
            <a:lvl7pPr marL="4876557" indent="0" algn="ctr">
              <a:buNone/>
              <a:defRPr sz="2844"/>
            </a:lvl7pPr>
            <a:lvl8pPr marL="5689315" indent="0" algn="ctr">
              <a:buNone/>
              <a:defRPr sz="2844"/>
            </a:lvl8pPr>
            <a:lvl9pPr marL="6502075" indent="0" algn="ctr">
              <a:buNone/>
              <a:defRPr sz="2844"/>
            </a:lvl9pPr>
          </a:lstStyle>
          <a:p>
            <a:r>
              <a:rPr lang="en-US" noProof="0"/>
              <a:t>Click to edit Master subtitle style</a:t>
            </a:r>
            <a:endParaRPr lang="en-CA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7" y="6381750"/>
            <a:ext cx="4195763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77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1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5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5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1"/>
            <a:ext cx="837176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2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9" y="1700213"/>
            <a:ext cx="277177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3"/>
            <a:ext cx="276296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7" y="1700213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7" y="3832225"/>
            <a:ext cx="276296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7" y="651601"/>
            <a:ext cx="837176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1" y="1857892"/>
            <a:ext cx="4100119" cy="1695450"/>
          </a:xfrm>
        </p:spPr>
        <p:txBody>
          <a:bodyPr/>
          <a:lstStyle>
            <a:lvl1pPr>
              <a:spcAft>
                <a:spcPts val="1777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7" y="1857892"/>
            <a:ext cx="4083117" cy="1695450"/>
          </a:xfrm>
        </p:spPr>
        <p:txBody>
          <a:bodyPr/>
          <a:lstStyle>
            <a:lvl1pPr>
              <a:spcAft>
                <a:spcPts val="1777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2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1" y="1705379"/>
            <a:ext cx="4100119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777"/>
              </a:spcAft>
            </a:pPr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9"/>
            <a:ext cx="4089719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777"/>
              </a:spcAft>
            </a:pPr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7"/>
            <a:ext cx="907655" cy="549275"/>
          </a:xfrm>
        </p:spPr>
        <p:txBody>
          <a:bodyPr/>
          <a:lstStyle>
            <a:lvl1pPr marL="0" marR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77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>
              <a:spcBef>
                <a:spcPct val="0"/>
              </a:spcBef>
            </a:pPr>
            <a:r>
              <a:rPr lang="en-CA" sz="2133" noProof="0" dirty="0">
                <a:solidFill>
                  <a:schemeClr val="bg1"/>
                </a:solidFill>
              </a:rPr>
              <a:t>Co-brand</a:t>
            </a:r>
            <a:br>
              <a:rPr lang="en-CA" sz="2133" noProof="0" dirty="0">
                <a:solidFill>
                  <a:schemeClr val="bg1"/>
                </a:solidFill>
              </a:rPr>
            </a:br>
            <a:r>
              <a:rPr lang="en-CA" sz="2133" noProof="0" dirty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4" y="1857893"/>
            <a:ext cx="933121" cy="549275"/>
          </a:xfrm>
        </p:spPr>
        <p:txBody>
          <a:bodyPr/>
          <a:lstStyle>
            <a:lvl1pPr marL="0" marR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77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>
              <a:spcBef>
                <a:spcPct val="0"/>
              </a:spcBef>
            </a:pPr>
            <a:r>
              <a:rPr lang="en-CA" sz="2133" noProof="0" dirty="0">
                <a:solidFill>
                  <a:schemeClr val="bg1"/>
                </a:solidFill>
              </a:rPr>
              <a:t>Co-brand</a:t>
            </a:r>
            <a:br>
              <a:rPr lang="en-CA" sz="2133" noProof="0" dirty="0">
                <a:solidFill>
                  <a:schemeClr val="bg1"/>
                </a:solidFill>
              </a:rPr>
            </a:br>
            <a:r>
              <a:rPr lang="en-CA" sz="2133" noProof="0" dirty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7" cy="1695450"/>
          </a:xfrm>
        </p:spPr>
        <p:txBody>
          <a:bodyPr/>
          <a:lstStyle>
            <a:lvl1pPr>
              <a:spcAft>
                <a:spcPts val="1777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8" y="1857892"/>
            <a:ext cx="4091001" cy="1695450"/>
          </a:xfrm>
        </p:spPr>
        <p:txBody>
          <a:bodyPr/>
          <a:lstStyle>
            <a:lvl1pPr>
              <a:spcAft>
                <a:spcPts val="1777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2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1" y="1705379"/>
            <a:ext cx="4100119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777"/>
              </a:spcAft>
            </a:pPr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9"/>
            <a:ext cx="4089719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777"/>
              </a:spcAft>
            </a:pPr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4" y="1857893"/>
            <a:ext cx="933121" cy="549275"/>
          </a:xfrm>
        </p:spPr>
        <p:txBody>
          <a:bodyPr/>
          <a:lstStyle>
            <a:lvl1pPr marL="0" marR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77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>
              <a:spcBef>
                <a:spcPct val="0"/>
              </a:spcBef>
            </a:pPr>
            <a:r>
              <a:rPr lang="en-CA" sz="2133" noProof="0" dirty="0">
                <a:solidFill>
                  <a:schemeClr val="bg1"/>
                </a:solidFill>
              </a:rPr>
              <a:t>Co-brand</a:t>
            </a:r>
            <a:br>
              <a:rPr lang="en-CA" sz="2133" noProof="0" dirty="0">
                <a:solidFill>
                  <a:schemeClr val="bg1"/>
                </a:solidFill>
              </a:rPr>
            </a:br>
            <a:r>
              <a:rPr lang="en-CA" sz="2133" noProof="0" dirty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1" y="4249682"/>
            <a:ext cx="4100119" cy="1695450"/>
          </a:xfrm>
        </p:spPr>
        <p:txBody>
          <a:bodyPr/>
          <a:lstStyle>
            <a:lvl1pPr>
              <a:spcAft>
                <a:spcPts val="1777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777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777"/>
              </a:spcAft>
            </a:pPr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777"/>
              </a:spcAft>
            </a:pPr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7"/>
            <a:ext cx="929536" cy="549275"/>
          </a:xfrm>
        </p:spPr>
        <p:txBody>
          <a:bodyPr/>
          <a:lstStyle>
            <a:lvl1pPr marL="0" marR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77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>
              <a:spcBef>
                <a:spcPct val="0"/>
              </a:spcBef>
            </a:pPr>
            <a:r>
              <a:rPr lang="en-CA" sz="2133" noProof="0" dirty="0">
                <a:solidFill>
                  <a:schemeClr val="bg1"/>
                </a:solidFill>
              </a:rPr>
              <a:t>Co-brand</a:t>
            </a:r>
            <a:br>
              <a:rPr lang="en-CA" sz="2133" noProof="0" dirty="0">
                <a:solidFill>
                  <a:schemeClr val="bg1"/>
                </a:solidFill>
              </a:rPr>
            </a:br>
            <a:r>
              <a:rPr lang="en-CA" sz="2133" noProof="0" dirty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3"/>
            <a:ext cx="933120" cy="549275"/>
          </a:xfrm>
        </p:spPr>
        <p:txBody>
          <a:bodyPr/>
          <a:lstStyle>
            <a:lvl1pPr marL="0" marR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77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>
              <a:spcBef>
                <a:spcPct val="0"/>
              </a:spcBef>
            </a:pPr>
            <a:r>
              <a:rPr lang="en-CA" sz="2133" noProof="0" dirty="0">
                <a:solidFill>
                  <a:schemeClr val="bg1"/>
                </a:solidFill>
              </a:rPr>
              <a:t>Co-brand</a:t>
            </a:r>
            <a:br>
              <a:rPr lang="en-CA" sz="2133" noProof="0" dirty="0">
                <a:solidFill>
                  <a:schemeClr val="bg1"/>
                </a:solidFill>
              </a:rPr>
            </a:br>
            <a:r>
              <a:rPr lang="en-CA" sz="2133" noProof="0" dirty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8127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7"/>
            <a:ext cx="907655" cy="549275"/>
          </a:xfrm>
        </p:spPr>
        <p:txBody>
          <a:bodyPr/>
          <a:lstStyle>
            <a:lvl1pPr marL="0" marR="0" indent="0" algn="l" defTabSz="16255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777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>
              <a:spcBef>
                <a:spcPct val="0"/>
              </a:spcBef>
            </a:pPr>
            <a:r>
              <a:rPr lang="en-CA" sz="2133" noProof="0" dirty="0">
                <a:solidFill>
                  <a:schemeClr val="bg1"/>
                </a:solidFill>
              </a:rPr>
              <a:t>Co-brand</a:t>
            </a:r>
            <a:br>
              <a:rPr lang="en-CA" sz="2133" noProof="0" dirty="0">
                <a:solidFill>
                  <a:schemeClr val="bg1"/>
                </a:solidFill>
              </a:rPr>
            </a:br>
            <a:r>
              <a:rPr lang="en-CA" sz="2133" noProof="0" dirty="0">
                <a:solidFill>
                  <a:schemeClr val="bg1"/>
                </a:solidFill>
              </a:rPr>
              <a:t>Logo</a:t>
            </a:r>
          </a:p>
          <a:p>
            <a:endParaRPr lang="en-CA" noProof="0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2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4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CA" sz="1956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5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1"/>
            <a:ext cx="8371763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9" y="317502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777"/>
              </a:spcAft>
              <a:defRPr/>
            </a:lvl2pPr>
            <a:lvl3pPr marL="0" indent="0">
              <a:spcAft>
                <a:spcPts val="1777"/>
              </a:spcAft>
              <a:buNone/>
              <a:defRPr/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/>
            </a:lvl4pPr>
            <a:lvl5pPr marL="633568" indent="-313584">
              <a:spcAft>
                <a:spcPts val="1777"/>
              </a:spcAft>
              <a:defRPr baseline="0"/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/>
            </a:lvl6pPr>
            <a:lvl7pPr marL="633568" indent="-313584">
              <a:spcAft>
                <a:spcPts val="1777"/>
              </a:spcAft>
              <a:defRPr/>
            </a:lvl7pPr>
            <a:lvl8pPr marL="633568" indent="-313584">
              <a:spcAft>
                <a:spcPts val="1777"/>
              </a:spcAft>
              <a:defRPr/>
            </a:lvl8pPr>
            <a:lvl9pPr marL="633568" indent="-313584">
              <a:spcAft>
                <a:spcPts val="1777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7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777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777"/>
              </a:spcAft>
              <a:buNone/>
              <a:defRPr>
                <a:solidFill>
                  <a:schemeClr val="bg1"/>
                </a:solidFill>
              </a:defRPr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633568" indent="-313584">
              <a:spcAft>
                <a:spcPts val="1777"/>
              </a:spcAft>
              <a:defRPr baseline="0">
                <a:solidFill>
                  <a:schemeClr val="bg1"/>
                </a:solidFill>
              </a:defRPr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7pPr>
            <a:lvl8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8pPr>
            <a:lvl9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777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777"/>
              </a:spcAft>
              <a:buNone/>
              <a:defRPr>
                <a:solidFill>
                  <a:schemeClr val="bg1"/>
                </a:solidFill>
              </a:defRPr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633568" indent="-313584">
              <a:spcAft>
                <a:spcPts val="1777"/>
              </a:spcAft>
              <a:defRPr baseline="0">
                <a:solidFill>
                  <a:schemeClr val="bg1"/>
                </a:solidFill>
              </a:defRPr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7pPr>
            <a:lvl8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8pPr>
            <a:lvl9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777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777"/>
              </a:spcAft>
              <a:buNone/>
              <a:defRPr>
                <a:solidFill>
                  <a:schemeClr val="bg1"/>
                </a:solidFill>
              </a:defRPr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633568" indent="-313584">
              <a:spcAft>
                <a:spcPts val="1777"/>
              </a:spcAft>
              <a:defRPr baseline="0">
                <a:solidFill>
                  <a:schemeClr val="bg1"/>
                </a:solidFill>
              </a:defRPr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7pPr>
            <a:lvl8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8pPr>
            <a:lvl9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777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777"/>
              </a:spcAft>
              <a:buNone/>
              <a:defRPr>
                <a:solidFill>
                  <a:schemeClr val="bg1"/>
                </a:solidFill>
              </a:defRPr>
            </a:lvl3pPr>
            <a:lvl4pPr marL="313584" indent="-313584">
              <a:spcAft>
                <a:spcPts val="1777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633568" indent="-313584">
              <a:spcAft>
                <a:spcPts val="1777"/>
              </a:spcAft>
              <a:defRPr baseline="0">
                <a:solidFill>
                  <a:schemeClr val="bg1"/>
                </a:solidFill>
              </a:defRPr>
            </a:lvl5pPr>
            <a:lvl6pPr marL="633568" indent="-313584">
              <a:spcAft>
                <a:spcPts val="1777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7pPr>
            <a:lvl8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8pPr>
            <a:lvl9pPr marL="633568" indent="-313584">
              <a:spcAft>
                <a:spcPts val="1777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87695"/>
            <a:ext cx="8391527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1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556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CA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7466"/>
              </a:lnSpc>
              <a:defRPr sz="64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40" y="5864230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844">
                <a:solidFill>
                  <a:schemeClr val="tx1"/>
                </a:solidFill>
              </a:defRPr>
            </a:lvl1pPr>
            <a:lvl2pPr marL="812760" indent="0" algn="ctr">
              <a:buNone/>
              <a:defRPr sz="3556"/>
            </a:lvl2pPr>
            <a:lvl3pPr marL="1625519" indent="0" algn="ctr">
              <a:buNone/>
              <a:defRPr sz="3200"/>
            </a:lvl3pPr>
            <a:lvl4pPr marL="2438278" indent="0" algn="ctr">
              <a:buNone/>
              <a:defRPr sz="2844"/>
            </a:lvl4pPr>
            <a:lvl5pPr marL="3251037" indent="0" algn="ctr">
              <a:buNone/>
              <a:defRPr sz="2844"/>
            </a:lvl5pPr>
            <a:lvl6pPr marL="4063797" indent="0" algn="ctr">
              <a:buNone/>
              <a:defRPr sz="2844"/>
            </a:lvl6pPr>
            <a:lvl7pPr marL="4876557" indent="0" algn="ctr">
              <a:buNone/>
              <a:defRPr sz="2844"/>
            </a:lvl7pPr>
            <a:lvl8pPr marL="5689315" indent="0" algn="ctr">
              <a:buNone/>
              <a:defRPr sz="2844"/>
            </a:lvl8pPr>
            <a:lvl9pPr marL="6502075" indent="0" algn="ctr">
              <a:buNone/>
              <a:defRPr sz="2844"/>
            </a:lvl9pPr>
          </a:lstStyle>
          <a:p>
            <a:r>
              <a:rPr lang="en-US" noProof="0"/>
              <a:t>Click to edit Master subtitle style</a:t>
            </a:r>
            <a:endParaRPr lang="en-CA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7" y="6381750"/>
            <a:ext cx="4195763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77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1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CA" sz="32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0"/>
            <a:ext cx="7905751" cy="1592403"/>
          </a:xfrm>
        </p:spPr>
        <p:txBody>
          <a:bodyPr anchor="b"/>
          <a:lstStyle>
            <a:lvl1pPr>
              <a:lnSpc>
                <a:spcPct val="95000"/>
              </a:lnSpc>
              <a:defRPr sz="6844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1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6844">
                <a:solidFill>
                  <a:schemeClr val="bg1"/>
                </a:solidFill>
              </a:defRPr>
            </a:lvl1pPr>
            <a:lvl2pPr marL="81276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51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278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03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379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55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31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07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0"/>
            <a:ext cx="7905751" cy="1592403"/>
          </a:xfrm>
        </p:spPr>
        <p:txBody>
          <a:bodyPr anchor="b"/>
          <a:lstStyle>
            <a:lvl1pPr>
              <a:lnSpc>
                <a:spcPct val="95000"/>
              </a:lnSpc>
              <a:defRPr sz="6844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7" y="3429000"/>
            <a:ext cx="7908051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6844">
                <a:solidFill>
                  <a:schemeClr val="bg1"/>
                </a:solidFill>
              </a:defRPr>
            </a:lvl1pPr>
            <a:lvl2pPr marL="81276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51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278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03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379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55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31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07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0"/>
            <a:ext cx="7905751" cy="1592403"/>
          </a:xfrm>
        </p:spPr>
        <p:txBody>
          <a:bodyPr anchor="b"/>
          <a:lstStyle>
            <a:lvl1pPr>
              <a:lnSpc>
                <a:spcPct val="95000"/>
              </a:lnSpc>
              <a:defRPr sz="6844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1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6844">
                <a:solidFill>
                  <a:schemeClr val="bg1"/>
                </a:solidFill>
              </a:defRPr>
            </a:lvl1pPr>
            <a:lvl2pPr marL="81276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51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278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03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379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55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31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07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0"/>
            <a:ext cx="7905751" cy="1592403"/>
          </a:xfrm>
        </p:spPr>
        <p:txBody>
          <a:bodyPr anchor="b"/>
          <a:lstStyle>
            <a:lvl1pPr>
              <a:lnSpc>
                <a:spcPct val="95000"/>
              </a:lnSpc>
              <a:defRPr sz="6844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1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6844">
                <a:solidFill>
                  <a:schemeClr val="bg1"/>
                </a:solidFill>
              </a:defRPr>
            </a:lvl1pPr>
            <a:lvl2pPr marL="81276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51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278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03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379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55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31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07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0"/>
            <a:ext cx="7905751" cy="1592403"/>
          </a:xfrm>
        </p:spPr>
        <p:txBody>
          <a:bodyPr anchor="b"/>
          <a:lstStyle>
            <a:lvl1pPr>
              <a:lnSpc>
                <a:spcPct val="95000"/>
              </a:lnSpc>
              <a:defRPr sz="6844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1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6844">
                <a:solidFill>
                  <a:schemeClr val="bg1"/>
                </a:solidFill>
              </a:defRPr>
            </a:lvl1pPr>
            <a:lvl2pPr marL="812760" indent="0">
              <a:buNone/>
              <a:defRPr sz="3556">
                <a:solidFill>
                  <a:schemeClr val="tx1">
                    <a:tint val="75000"/>
                  </a:schemeClr>
                </a:solidFill>
              </a:defRPr>
            </a:lvl2pPr>
            <a:lvl3pPr marL="162551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438278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4pPr>
            <a:lvl5pPr marL="325103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5pPr>
            <a:lvl6pPr marL="406379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6pPr>
            <a:lvl7pPr marL="4876557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7pPr>
            <a:lvl8pPr marL="568931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8pPr>
            <a:lvl9pPr marL="6502075" indent="0">
              <a:buNone/>
              <a:defRPr sz="28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bg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bg1"/>
                </a:solidFill>
              </a:rPr>
              <a:t>© Deloitte LLP and affiliated entities.</a:t>
            </a: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0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9" y="317502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CA" noProof="0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1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1067"/>
              </a:spcBef>
              <a:buSzPct val="100000"/>
              <a:buFont typeface="Arial"/>
              <a:buNone/>
            </a:pPr>
            <a:r>
              <a:rPr lang="en-CA" sz="1156" noProof="0" dirty="0">
                <a:solidFill>
                  <a:schemeClr val="tx1"/>
                </a:solidFill>
              </a:rPr>
              <a:t>© Deloitte LLP and affiliated entities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99860" y="6477001"/>
            <a:ext cx="1920240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r>
              <a:rPr lang="en-CA" noProof="0" dirty="0"/>
              <a:t>Go to "Insert Tab" to insert a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7761" y="6477001"/>
            <a:ext cx="176331" cy="12311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156">
                <a:solidFill>
                  <a:schemeClr val="tx1"/>
                </a:solidFill>
              </a:defRPr>
            </a:lvl1pPr>
          </a:lstStyle>
          <a:p>
            <a:fld id="{061A9654-7BF2-42EF-AE33-C129A2459692}" type="slidenum">
              <a:rPr lang="en-CA" noProof="0" smtClean="0"/>
              <a:pPr/>
              <a:t>‹#›</a:t>
            </a:fld>
            <a:endParaRPr lang="en-CA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625519" rtl="0" eaLnBrk="1" latinLnBrk="0" hangingPunct="1">
        <a:spcBef>
          <a:spcPct val="0"/>
        </a:spcBef>
        <a:buNone/>
        <a:defRPr sz="35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625519" rtl="0" eaLnBrk="1" latinLnBrk="0" hangingPunct="1">
        <a:spcBef>
          <a:spcPts val="0"/>
        </a:spcBef>
        <a:spcAft>
          <a:spcPts val="1777"/>
        </a:spcAft>
        <a:buSzPct val="100000"/>
        <a:buFont typeface="Arial" panose="020B0604020202020204" pitchFamily="34" charset="0"/>
        <a:buNone/>
        <a:defRPr sz="2133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625519" rtl="0" eaLnBrk="1" latinLnBrk="0" hangingPunct="1">
        <a:spcBef>
          <a:spcPts val="0"/>
        </a:spcBef>
        <a:spcAft>
          <a:spcPts val="1777"/>
        </a:spcAft>
        <a:buClrTx/>
        <a:buSzPct val="100000"/>
        <a:buFont typeface="Arial"/>
        <a:buNone/>
        <a:defRPr lang="en-US" sz="2133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13584" indent="-313584" algn="l" defTabSz="1625519" rtl="0" eaLnBrk="1" latinLnBrk="0" hangingPunct="1">
        <a:spcBef>
          <a:spcPts val="0"/>
        </a:spcBef>
        <a:spcAft>
          <a:spcPts val="1777"/>
        </a:spcAft>
        <a:buClrTx/>
        <a:buSzPct val="100000"/>
        <a:buFont typeface="Arial" panose="020B0604020202020204" pitchFamily="34" charset="0"/>
        <a:buChar char="•"/>
        <a:defRPr lang="en-US" sz="2133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33568" indent="-313584" algn="l" defTabSz="1625519" rtl="0" eaLnBrk="1" latinLnBrk="0" hangingPunct="1">
        <a:spcBef>
          <a:spcPts val="0"/>
        </a:spcBef>
        <a:spcAft>
          <a:spcPts val="1777"/>
        </a:spcAft>
        <a:buClrTx/>
        <a:buSzPct val="100000"/>
        <a:buFont typeface="Verdana" panose="020B0604030504040204" pitchFamily="34" charset="0"/>
        <a:buChar char="−"/>
        <a:defRPr lang="en-US" sz="2133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47152" indent="-313584" algn="l" defTabSz="1419507" rtl="0" eaLnBrk="1" latinLnBrk="0" hangingPunct="1">
        <a:spcBef>
          <a:spcPts val="0"/>
        </a:spcBef>
        <a:spcAft>
          <a:spcPts val="1777"/>
        </a:spcAft>
        <a:buClrTx/>
        <a:buSzPct val="100000"/>
        <a:buFont typeface="Verdana" panose="020B0604030504040204" pitchFamily="34" charset="0"/>
        <a:buChar char="−"/>
        <a:tabLst/>
        <a:defRPr lang="en-US" sz="2133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947152" indent="-313584" algn="l" defTabSz="1625519" rtl="0" eaLnBrk="1" latinLnBrk="0" hangingPunct="1">
        <a:spcBef>
          <a:spcPts val="0"/>
        </a:spcBef>
        <a:spcAft>
          <a:spcPts val="1777"/>
        </a:spcAft>
        <a:buFont typeface="Verdana" panose="020B0604030504040204" pitchFamily="34" charset="0"/>
        <a:buChar char="−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47152" indent="-313584" algn="l" defTabSz="1625519" rtl="0" eaLnBrk="1" latinLnBrk="0" hangingPunct="1">
        <a:spcBef>
          <a:spcPts val="0"/>
        </a:spcBef>
        <a:spcAft>
          <a:spcPts val="1777"/>
        </a:spcAft>
        <a:buFont typeface="Verdana" panose="020B0604030504040204" pitchFamily="34" charset="0"/>
        <a:buChar char="−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947152" indent="-313584" algn="l" defTabSz="1625519" rtl="0" eaLnBrk="1" latinLnBrk="0" hangingPunct="1">
        <a:spcBef>
          <a:spcPts val="0"/>
        </a:spcBef>
        <a:spcAft>
          <a:spcPts val="1777"/>
        </a:spcAft>
        <a:buFont typeface="Verdana" panose="020B0604030504040204" pitchFamily="34" charset="0"/>
        <a:buChar char="−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947152" indent="-313584" algn="l" defTabSz="1625519" rtl="0" eaLnBrk="1" latinLnBrk="0" hangingPunct="1">
        <a:spcBef>
          <a:spcPts val="0"/>
        </a:spcBef>
        <a:spcAft>
          <a:spcPts val="1777"/>
        </a:spcAft>
        <a:buFont typeface="Verdana" panose="020B0604030504040204" pitchFamily="34" charset="0"/>
        <a:buChar char="−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60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19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278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03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79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557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31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075" algn="l" defTabSz="1625519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3AC0B20-77B9-43AD-99BE-DF484B351054}"/>
              </a:ext>
            </a:extLst>
          </p:cNvPr>
          <p:cNvSpPr txBox="1"/>
          <p:nvPr/>
        </p:nvSpPr>
        <p:spPr>
          <a:xfrm>
            <a:off x="0" y="319151"/>
            <a:ext cx="9143999" cy="738664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800"/>
              </a:spcBef>
              <a:buSzPct val="100000"/>
            </a:pPr>
            <a:r>
              <a:rPr lang="fr-CA" sz="4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Plateforme Dépistage COVID-19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5CB3FD-E20B-4169-A633-D083F4D83722}"/>
              </a:ext>
            </a:extLst>
          </p:cNvPr>
          <p:cNvSpPr/>
          <p:nvPr/>
        </p:nvSpPr>
        <p:spPr>
          <a:xfrm>
            <a:off x="1672145" y="1863612"/>
            <a:ext cx="60837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sz="3200" dirty="0">
                <a:latin typeface="Calibri" panose="020F0502020204030204" pitchFamily="34" charset="0"/>
                <a:cs typeface="Calibri" panose="020F0502020204030204" pitchFamily="34" charset="0"/>
              </a:rPr>
              <a:t>Lien : https://deloi.tt/2Yos4Sr</a:t>
            </a:r>
            <a:endParaRPr lang="fr-CA" sz="3200" u="sng" dirty="0">
              <a:solidFill>
                <a:schemeClr val="accent4">
                  <a:lumMod val="60000"/>
                  <a:lumOff val="4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4DC9306-58C5-4948-9F7C-E2333E2C24C2}"/>
              </a:ext>
            </a:extLst>
          </p:cNvPr>
          <p:cNvSpPr/>
          <p:nvPr/>
        </p:nvSpPr>
        <p:spPr>
          <a:xfrm>
            <a:off x="1530105" y="2966614"/>
            <a:ext cx="60837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de QR pour </a:t>
            </a:r>
          </a:p>
          <a:p>
            <a:pPr algn="ctr"/>
            <a:r>
              <a:rPr lang="fr-CA" dirty="0"/>
              <a:t>CMDM - Communautaire milieu scolaire 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0D9180-797B-4812-9E70-13E5F1379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13" y="-788845"/>
            <a:ext cx="382585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br>
              <a:rPr lang="fr-FR" altLang="fr-FR" b="1" dirty="0">
                <a:solidFill>
                  <a:srgbClr val="080707"/>
                </a:solidFill>
                <a:latin typeface="Salesforce Sans"/>
              </a:rPr>
            </a:br>
            <a:endParaRPr lang="fr-FR" altLang="fr-FR" b="1" dirty="0">
              <a:solidFill>
                <a:srgbClr val="080707"/>
              </a:solidFill>
              <a:latin typeface="Salesforce Sans"/>
            </a:endParaRPr>
          </a:p>
          <a:p>
            <a:pPr lvl="0"/>
            <a:endParaRPr lang="fr-CA" altLang="fr-FR" b="1" dirty="0">
              <a:solidFill>
                <a:srgbClr val="080707"/>
              </a:solidFill>
              <a:latin typeface="Salesforce Sans"/>
            </a:endParaRPr>
          </a:p>
          <a:p>
            <a:pPr lvl="0"/>
            <a:r>
              <a:rPr lang="fr-CA" altLang="fr-FR" b="1" dirty="0">
                <a:solidFill>
                  <a:srgbClr val="080707"/>
                </a:solidFill>
                <a:latin typeface="Salesforce Sans"/>
              </a:rPr>
              <a:t>CMDM - Communautaire milieu scolaire</a:t>
            </a: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7" name="Picture 26" descr="Qr code&#10;&#10;Description automatically generated">
            <a:extLst>
              <a:ext uri="{FF2B5EF4-FFF2-40B4-BE49-F238E27FC236}">
                <a16:creationId xmlns:a16="http://schemas.microsoft.com/office/drawing/2014/main" id="{D5E01782-CD1B-41BC-AB74-C89E2173CA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9190" y="3612945"/>
            <a:ext cx="2485620" cy="248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4:3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7BF011AA-844F-4E8F-AE44-FD556C59DA70}" vid="{9D782DEB-C4B7-4A3C-A6EA-11B4ED34005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D449CA6AF67947BB961EA67F732EAD" ma:contentTypeVersion="2" ma:contentTypeDescription="Create a new document." ma:contentTypeScope="" ma:versionID="3490c94e6a80b355b9cd87365c825246">
  <xsd:schema xmlns:xsd="http://www.w3.org/2001/XMLSchema" xmlns:xs="http://www.w3.org/2001/XMLSchema" xmlns:p="http://schemas.microsoft.com/office/2006/metadata/properties" xmlns:ns3="c2ca7239-97fa-457c-aed2-bfb2aecb2937" targetNamespace="http://schemas.microsoft.com/office/2006/metadata/properties" ma:root="true" ma:fieldsID="13fb1d6b5be23c3361acf73aa25df0c1" ns3:_="">
    <xsd:import namespace="c2ca7239-97fa-457c-aed2-bfb2aecb293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ca7239-97fa-457c-aed2-bfb2aecb29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DD6A4E-E859-4A78-A567-28E5DE609460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c2ca7239-97fa-457c-aed2-bfb2aecb2937"/>
    <ds:schemaRef ds:uri="http://www.w3.org/XML/1998/namespace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EEA7B154-6615-4794-B8FE-B625B8A5191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A0F9C27-FEC0-42D7-A1FE-D3EFB11354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ca7239-97fa-457c-aed2-bfb2aecb29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789</TotalTime>
  <Words>29</Words>
  <Application>Microsoft Office PowerPoint</Application>
  <PresentationFormat>Letter Paper (8.5x11 in)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Salesforce Sans</vt:lpstr>
      <vt:lpstr>Verdana</vt:lpstr>
      <vt:lpstr>Deloitte 4:3 onscreen</vt:lpstr>
      <vt:lpstr>think-cell Slide</vt:lpstr>
      <vt:lpstr>PowerPoint Presentation</vt:lpstr>
    </vt:vector>
  </TitlesOfParts>
  <Company>Deloitte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llivan, Victor</dc:creator>
  <cp:lastModifiedBy>Djafri, Ikram</cp:lastModifiedBy>
  <cp:revision>30</cp:revision>
  <cp:lastPrinted>2014-06-25T02:16:22Z</cp:lastPrinted>
  <dcterms:created xsi:type="dcterms:W3CDTF">2020-11-12T21:44:13Z</dcterms:created>
  <dcterms:modified xsi:type="dcterms:W3CDTF">2021-01-29T16:3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D449CA6AF67947BB961EA67F732EAD</vt:lpwstr>
  </property>
</Properties>
</file>